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8"/>
  </p:notesMasterIdLst>
  <p:sldIdLst>
    <p:sldId id="256" r:id="rId5"/>
    <p:sldId id="782" r:id="rId6"/>
    <p:sldId id="779" r:id="rId7"/>
    <p:sldId id="303" r:id="rId8"/>
    <p:sldId id="258" r:id="rId9"/>
    <p:sldId id="263" r:id="rId10"/>
    <p:sldId id="264" r:id="rId11"/>
    <p:sldId id="304" r:id="rId12"/>
    <p:sldId id="267" r:id="rId13"/>
    <p:sldId id="268" r:id="rId14"/>
    <p:sldId id="307" r:id="rId15"/>
    <p:sldId id="287" r:id="rId16"/>
    <p:sldId id="781" r:id="rId17"/>
  </p:sldIdLst>
  <p:sldSz cx="12192000" cy="6858000"/>
  <p:notesSz cx="6858000" cy="9144000"/>
  <p:custDataLst>
    <p:tags r:id="rId19"/>
  </p:custDataLst>
  <p:defaultTextStyle>
    <a:defPPr>
      <a:defRPr lang="en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B6575C1-A33C-C031-02F0-65EDBC7506D3}" name="Susanne Åkerfeldt" initials="SÅ" userId="S::susanne.akerfeldt@regeringskansliet.se::7630ef9e-703a-41c3-8874-a43a7d8ff78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892" autoAdjust="0"/>
    <p:restoredTop sz="77291" autoAdjust="0"/>
  </p:normalViewPr>
  <p:slideViewPr>
    <p:cSldViewPr snapToGrid="0" snapToObjects="1">
      <p:cViewPr varScale="1">
        <p:scale>
          <a:sx n="55" d="100"/>
          <a:sy n="55" d="100"/>
        </p:scale>
        <p:origin x="324" y="4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E8DB72-D1A1-4BFD-A660-2536B7888BC7}" type="datetimeFigureOut">
              <a:rPr lang="en-SE" smtClean="0"/>
              <a:t>09/27/2024</a:t>
            </a:fld>
            <a:endParaRPr lang="en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A86070-A233-43F6-98CA-D280ECE7B4B9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21481403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A86070-A233-43F6-98CA-D280ECE7B4B9}" type="slidenum">
              <a:rPr lang="en-SE" smtClean="0"/>
              <a:t>1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7394135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weden’s main policy instrument for reaching reduction of emissions</a:t>
            </a:r>
          </a:p>
          <a:p>
            <a:r>
              <a:rPr lang="en-GB" dirty="0"/>
              <a:t>Cost-effective, market based instrument</a:t>
            </a:r>
          </a:p>
          <a:p>
            <a:r>
              <a:rPr lang="en-GB" dirty="0"/>
              <a:t>Sweden has considerable experience with carbon taxation</a:t>
            </a:r>
          </a:p>
          <a:p>
            <a:r>
              <a:rPr lang="en-GB" dirty="0"/>
              <a:t>Sweden has the world’s highest carbon tax</a:t>
            </a:r>
          </a:p>
          <a:p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A86070-A233-43F6-98CA-D280ECE7B4B9}" type="slidenum">
              <a:rPr lang="en-SE" smtClean="0"/>
              <a:t>4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5577047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A86070-A233-43F6-98CA-D280ECE7B4B9}" type="slidenum">
              <a:rPr lang="en-SE" smtClean="0"/>
              <a:t>7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25629639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A86070-A233-43F6-98CA-D280ECE7B4B9}" type="slidenum">
              <a:rPr lang="en-SE" smtClean="0"/>
              <a:t>10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26656163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A86070-A233-43F6-98CA-D280ECE7B4B9}" type="slidenum">
              <a:rPr lang="en-SE" smtClean="0"/>
              <a:t>11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610143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BD24D-7B9F-2849-B5AB-DFD5FBB285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EEBC062-9BFA-5E44-B6CB-FF60F99B55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F149CF-2546-544E-A4DA-AEB11975FF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7A2BC-65B3-3548-9E88-DEABEA51CCDF}" type="datetimeFigureOut">
              <a:rPr lang="en-SE" smtClean="0"/>
              <a:t>09/27/2024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C20476-B08F-274A-B253-9DB851917D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C2C006-7330-BB43-8218-D3652671D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F875C-BB7E-FC41-943B-93DD5E6EAD46}" type="slidenum">
              <a:rPr lang="en-SE" smtClean="0"/>
              <a:t>‹#›</a:t>
            </a:fld>
            <a:endParaRPr lang="en-SE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3D8D184-604F-36A1-E708-3C66B775A62C}"/>
              </a:ext>
            </a:extLst>
          </p:cNvPr>
          <p:cNvSpPr txBox="1">
            <a:spLocks/>
          </p:cNvSpPr>
          <p:nvPr userDrawn="1"/>
        </p:nvSpPr>
        <p:spPr>
          <a:xfrm>
            <a:off x="11453446" y="136525"/>
            <a:ext cx="644768" cy="613752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299323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47EE0-0A0D-8D4F-97B4-2CAE59CC8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8F0BFA1-2AF5-7341-BC61-BC838BED69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E2E82F-1DEC-7D4A-9DE0-560C0AD72B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7A2BC-65B3-3548-9E88-DEABEA51CCDF}" type="datetimeFigureOut">
              <a:rPr lang="en-SE" smtClean="0"/>
              <a:t>09/27/2024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2477F4-FE11-1240-8793-FD887B2869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C6751A-2B2D-2F44-B182-CEA4028F9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F875C-BB7E-FC41-943B-93DD5E6EAD46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9744921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47F610A-94E5-1E42-854E-13D36B69C5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FC190C0-573C-634A-9CDA-3857D16D7A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8AF7B7-18B1-704B-B111-BECE1CB2B7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7A2BC-65B3-3548-9E88-DEABEA51CCDF}" type="datetimeFigureOut">
              <a:rPr lang="en-SE" smtClean="0"/>
              <a:t>09/27/2024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6B0BFE-3E9B-9847-AF13-5739D6C9F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5EE80F-99E4-7646-91E5-15FB85770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F875C-BB7E-FC41-943B-93DD5E6EAD46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3938365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B8BCB-A7AE-284A-8C8B-ADEFB2B94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4307AC-E4F8-C146-B1A1-598ECF56FE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E396D8-54DB-984D-967A-7D1DE61392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7A2BC-65B3-3548-9E88-DEABEA51CCDF}" type="datetimeFigureOut">
              <a:rPr lang="en-SE" smtClean="0"/>
              <a:t>09/27/2024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3C2D44-AC77-3442-A1A1-C6F8941FAA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5391B7-F044-A748-97B8-8B01206949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F875C-BB7E-FC41-943B-93DD5E6EAD46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2606265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FBA2B-C1AA-2246-AF60-D726AAB89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8CEB00-4F9D-1447-A3F2-16C46C512A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33F7BB-40B1-F041-B496-C3CFF0CA06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7A2BC-65B3-3548-9E88-DEABEA51CCDF}" type="datetimeFigureOut">
              <a:rPr lang="en-SE" smtClean="0"/>
              <a:t>09/27/2024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E973A6-4C7C-E44D-ACDC-7E92548DA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E7B8B4-29C6-0240-9B25-860F93447C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F875C-BB7E-FC41-943B-93DD5E6EAD46}" type="slidenum">
              <a:rPr lang="en-SE" smtClean="0"/>
              <a:t>‹#›</a:t>
            </a:fld>
            <a:endParaRPr lang="en-SE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ACECE2F-5495-5E6E-4BCF-1A4A87DFAB73}"/>
              </a:ext>
            </a:extLst>
          </p:cNvPr>
          <p:cNvSpPr txBox="1">
            <a:spLocks/>
          </p:cNvSpPr>
          <p:nvPr userDrawn="1"/>
        </p:nvSpPr>
        <p:spPr>
          <a:xfrm>
            <a:off x="11453446" y="136525"/>
            <a:ext cx="644768" cy="613752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667949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6E2CD7-0218-E040-8B1F-73E8AD42A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C84660-27D5-FF45-B9C9-F553E2A0F7D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F2329C-A9E9-6F4A-B212-58E04C50F4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35AF99-D775-264E-997E-24D2131C2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7A2BC-65B3-3548-9E88-DEABEA51CCDF}" type="datetimeFigureOut">
              <a:rPr lang="en-SE" smtClean="0"/>
              <a:t>09/27/2024</a:t>
            </a:fld>
            <a:endParaRPr lang="en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F50E00-9DB7-D24A-BBB2-75965529C0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E5D0E1-D882-FC44-86D4-3BFCCBF7D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F875C-BB7E-FC41-943B-93DD5E6EAD46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5171819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BD85F-971D-E54B-872A-1063E80C4F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F2956F-711D-BC4B-BD63-B7BE61021F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899ECE-3EC3-0E40-9E0D-833EB46978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1D684A-79A4-A345-8A45-8317964480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C243168-1BF6-F645-90A5-2CF7CA54574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3E691B7-6CD1-DA4A-A229-00434C75B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7A2BC-65B3-3548-9E88-DEABEA51CCDF}" type="datetimeFigureOut">
              <a:rPr lang="en-SE" smtClean="0"/>
              <a:t>09/27/2024</a:t>
            </a:fld>
            <a:endParaRPr lang="en-S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83820BC-29AB-FD4B-B92B-CFCA694DC9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DCF918C-F65C-964C-A1FB-F1D3780E7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F875C-BB7E-FC41-943B-93DD5E6EAD46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9035404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9D3B0A-3052-5F4B-835E-FE0B5B794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92F18B3-FD2C-E745-933D-1440D0BF91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7A2BC-65B3-3548-9E88-DEABEA51CCDF}" type="datetimeFigureOut">
              <a:rPr lang="en-SE" smtClean="0"/>
              <a:t>09/27/2024</a:t>
            </a:fld>
            <a:endParaRPr lang="en-S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71090C-1828-F74D-A12D-23518C5074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5784D8-AFC1-C44D-A79C-5591C9AFF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F875C-BB7E-FC41-943B-93DD5E6EAD46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23665030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951B29-FF08-654D-B507-D57A2951BD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7A2BC-65B3-3548-9E88-DEABEA51CCDF}" type="datetimeFigureOut">
              <a:rPr lang="en-SE" smtClean="0"/>
              <a:t>09/27/2024</a:t>
            </a:fld>
            <a:endParaRPr lang="en-S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D35B0E-EC9A-1745-95CC-43CDF107CC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A9B40C-8243-6D4A-BD72-9F41A35F2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F875C-BB7E-FC41-943B-93DD5E6EAD46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26015946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6363E1-C71F-3840-926E-AD35C8FB2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BC897-07E1-034F-813B-45FE6D00C5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3E9569-DDF9-E64B-857B-8EC66D98EE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49195A-9ABF-9F4B-90D8-8B69DB4AA3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7A2BC-65B3-3548-9E88-DEABEA51CCDF}" type="datetimeFigureOut">
              <a:rPr lang="en-SE" smtClean="0"/>
              <a:t>09/27/2024</a:t>
            </a:fld>
            <a:endParaRPr lang="en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8C1A55-011F-1544-B8CE-693B67CE1A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F5C5D2-FE7E-E648-8E84-9CD4D5E1CF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F875C-BB7E-FC41-943B-93DD5E6EAD46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7651586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923FE4-1FC8-CE46-A67C-E55568FB5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5C530FF-A22C-8144-A020-24FC9C401D2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BE8F9F-171C-EA40-9A11-8461217758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7FA7DF-241E-A342-84A7-A26FC849C4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7A2BC-65B3-3548-9E88-DEABEA51CCDF}" type="datetimeFigureOut">
              <a:rPr lang="en-SE" smtClean="0"/>
              <a:t>09/27/2024</a:t>
            </a:fld>
            <a:endParaRPr lang="en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25F308-DC78-BD49-9AD5-39963897D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BEA27E-1904-A34D-87C6-5DBFCCFDF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AF875C-BB7E-FC41-943B-93DD5E6EAD46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5197320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EEDE275-9435-F646-8922-5C662CB86D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994771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EEDE275-9435-F646-8922-5C662CB86D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F9B5C70-A26E-144D-AA74-74338A4E81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4E33AC-941F-B44B-B1ED-F029B5BEB1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5DB0F3-E0E2-6045-9286-A106A1C987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57A2BC-65B3-3548-9E88-DEABEA51CCDF}" type="datetimeFigureOut">
              <a:rPr lang="en-SE" smtClean="0"/>
              <a:t>09/27/2024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A7208B-8CF3-6645-B43A-ABDA23F2EF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22C0DB-CB0F-FD44-8D7F-AE0D0A7249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AF875C-BB7E-FC41-943B-93DD5E6EAD46}" type="slidenum">
              <a:rPr lang="en-SE" smtClean="0"/>
              <a:t>‹#›</a:t>
            </a:fld>
            <a:endParaRPr lang="en-S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AA9CC7-BB8E-C8E3-F887-F544D5C9EE1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1738334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papers.ssrn.com/sol3/papers.cfm?abstract_id=4206508" TargetMode="External"/><Relationship Id="rId2" Type="http://schemas.openxmlformats.org/officeDocument/2006/relationships/hyperlink" Target="mailto:christian.Thomann@indek.kth.se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39361BD-3FAF-AE4A-90B1-46A06323D8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63251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39361BD-3FAF-AE4A-90B1-46A06323D8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C7E5925-5103-B041-B022-FA4DC561C4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532168"/>
            <a:ext cx="9144000" cy="2387600"/>
          </a:xfrm>
        </p:spPr>
        <p:txBody>
          <a:bodyPr vert="horz">
            <a:noAutofit/>
          </a:bodyPr>
          <a:lstStyle/>
          <a:p>
            <a:r>
              <a:rPr lang="en-US" sz="4000" dirty="0"/>
              <a:t>Empirical evidence of the pricing of carbon emissions in Sweden using a carbon tax and emissions trading</a:t>
            </a:r>
            <a:br>
              <a:rPr lang="en-GB" sz="4000" dirty="0"/>
            </a:br>
            <a:endParaRPr lang="en-SE" sz="40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F45AD20-5D62-4E4E-90A8-DD156C36E0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172644"/>
            <a:ext cx="9144000" cy="2061965"/>
          </a:xfrm>
        </p:spPr>
        <p:txBody>
          <a:bodyPr>
            <a:normAutofit fontScale="92500"/>
          </a:bodyPr>
          <a:lstStyle/>
          <a:p>
            <a:r>
              <a:rPr lang="en-SE" sz="2800" dirty="0"/>
              <a:t>Christian Thomann, </a:t>
            </a:r>
            <a:r>
              <a:rPr lang="en-GB" sz="2800" dirty="0"/>
              <a:t>Royal Institute of Technology, </a:t>
            </a:r>
            <a:r>
              <a:rPr lang="en-SE" sz="2800" dirty="0"/>
              <a:t>S</a:t>
            </a:r>
            <a:r>
              <a:rPr lang="en-GB" sz="2800" dirty="0" err="1"/>
              <a:t>HoF</a:t>
            </a:r>
            <a:r>
              <a:rPr lang="en-SE" sz="2800" dirty="0"/>
              <a:t> </a:t>
            </a:r>
            <a:r>
              <a:rPr lang="en-GB" sz="2800" dirty="0"/>
              <a:t>&amp; </a:t>
            </a:r>
            <a:r>
              <a:rPr lang="en-GB" sz="2800" dirty="0" err="1"/>
              <a:t>Misum</a:t>
            </a:r>
            <a:endParaRPr lang="en-GB" sz="2800" dirty="0"/>
          </a:p>
          <a:p>
            <a:r>
              <a:rPr lang="en-GB" sz="2000" dirty="0"/>
              <a:t>joint work with:</a:t>
            </a:r>
          </a:p>
          <a:p>
            <a:r>
              <a:rPr lang="en-SE" sz="2000" dirty="0"/>
              <a:t>Gustav Martinsson, </a:t>
            </a:r>
            <a:r>
              <a:rPr lang="en-GB" sz="2000" dirty="0"/>
              <a:t>SU, </a:t>
            </a:r>
            <a:r>
              <a:rPr lang="en-SE" sz="2000" dirty="0"/>
              <a:t>SHoF</a:t>
            </a:r>
            <a:r>
              <a:rPr lang="en-GB" sz="2000" dirty="0"/>
              <a:t> &amp; Misum</a:t>
            </a:r>
            <a:endParaRPr lang="en-SE" sz="2000" dirty="0"/>
          </a:p>
          <a:p>
            <a:r>
              <a:rPr lang="en-SE" sz="2000" dirty="0"/>
              <a:t>Laszlo Sajtos, </a:t>
            </a:r>
            <a:r>
              <a:rPr lang="en-GB" sz="2000" dirty="0"/>
              <a:t>National Institute for Economic Research, </a:t>
            </a:r>
            <a:r>
              <a:rPr lang="en-SE" sz="2000" dirty="0"/>
              <a:t>SHoF</a:t>
            </a:r>
            <a:r>
              <a:rPr lang="en-GB" sz="2000" dirty="0"/>
              <a:t> &amp; Misum</a:t>
            </a:r>
            <a:endParaRPr lang="en-SE" sz="2000" dirty="0"/>
          </a:p>
          <a:p>
            <a:r>
              <a:rPr lang="en-SE" sz="2000" dirty="0"/>
              <a:t>Per Strömberg, Stockholm School of Economics , SHoF, &amp; CEP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7965ABD-C332-AF44-A534-773B07C9D938}"/>
              </a:ext>
            </a:extLst>
          </p:cNvPr>
          <p:cNvSpPr txBox="1"/>
          <p:nvPr/>
        </p:nvSpPr>
        <p:spPr>
          <a:xfrm>
            <a:off x="3803673" y="5401976"/>
            <a:ext cx="458843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i="1" dirty="0"/>
              <a:t>Joint Indonesia-Sweden-ADB-CFMCA Workshop</a:t>
            </a:r>
          </a:p>
          <a:p>
            <a:pPr algn="ctr"/>
            <a:r>
              <a:rPr lang="en-US" i="1" dirty="0"/>
              <a:t>Jakarta, Indonesia  </a:t>
            </a:r>
          </a:p>
          <a:p>
            <a:pPr algn="ctr"/>
            <a:r>
              <a:rPr lang="en-US" i="1" dirty="0"/>
              <a:t>3 October 2023</a:t>
            </a:r>
          </a:p>
        </p:txBody>
      </p:sp>
    </p:spTree>
    <p:extLst>
      <p:ext uri="{BB962C8B-B14F-4D97-AF65-F5344CB8AC3E}">
        <p14:creationId xmlns:p14="http://schemas.microsoft.com/office/powerpoint/2010/main" val="17349002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969E58C-8854-A24F-9BC3-B27D82315D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969E58C-8854-A24F-9BC3-B27D82315D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B666A355-3F7C-0C44-ABCF-6F6DEDFAE1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3792" y="995533"/>
            <a:ext cx="8811491" cy="530812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39AE8C53-E378-5044-B910-B403AC284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3792" y="0"/>
            <a:ext cx="10515600" cy="1325563"/>
          </a:xfrm>
        </p:spPr>
        <p:txBody>
          <a:bodyPr vert="horz"/>
          <a:lstStyle/>
          <a:p>
            <a:r>
              <a:rPr lang="en-SE" b="1" dirty="0"/>
              <a:t>Baseline estimat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029269-B327-9A37-192D-19B96C4E85F3}"/>
              </a:ext>
            </a:extLst>
          </p:cNvPr>
          <p:cNvSpPr txBox="1"/>
          <p:nvPr/>
        </p:nvSpPr>
        <p:spPr>
          <a:xfrm>
            <a:off x="3340100" y="6072609"/>
            <a:ext cx="46628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/>
              <a:t>It takes time to fully adjust</a:t>
            </a:r>
            <a:endParaRPr lang="en-SE" sz="2400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59821F-ED50-D163-E64A-5AF4E21586EA}"/>
              </a:ext>
            </a:extLst>
          </p:cNvPr>
          <p:cNvSpPr txBox="1"/>
          <p:nvPr/>
        </p:nvSpPr>
        <p:spPr>
          <a:xfrm>
            <a:off x="7073900" y="6065944"/>
            <a:ext cx="42291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400" b="1" dirty="0"/>
              <a:t>&amp; technology plays role </a:t>
            </a:r>
            <a:endParaRPr lang="en-SE" sz="2400" b="1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ED08D6C-6CA3-2F37-72FB-9A7792F339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2200" y="370356"/>
            <a:ext cx="4038600" cy="528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904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>
            <a:extLst>
              <a:ext uri="{FF2B5EF4-FFF2-40B4-BE49-F238E27FC236}">
                <a16:creationId xmlns:a16="http://schemas.microsoft.com/office/drawing/2014/main" id="{8D8766B0-F823-AB71-C422-46E07D198B3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955675" y="473075"/>
            <a:ext cx="10507663" cy="591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F51B8DA6-D5C9-9CA0-D8F8-2D46F8047E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0825" y="866775"/>
            <a:ext cx="1746250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SE" altLang="en-SE" sz="3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Results </a:t>
            </a:r>
            <a:endParaRPr kumimoji="0" lang="en-SE" altLang="en-S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5F238A56-116F-645B-D0BE-5F1E0FEC58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1138" y="1735138"/>
            <a:ext cx="5278438" cy="709613"/>
          </a:xfrm>
          <a:prstGeom prst="rect">
            <a:avLst/>
          </a:prstGeom>
          <a:solidFill>
            <a:srgbClr val="E7E7E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125A20A5-ED2C-B5C5-F047-B991420160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9575" y="1735138"/>
            <a:ext cx="4219575" cy="709613"/>
          </a:xfrm>
          <a:prstGeom prst="rect">
            <a:avLst/>
          </a:prstGeom>
          <a:solidFill>
            <a:srgbClr val="E7E7E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5FB97B57-7521-1E33-E32D-16755A352C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1138" y="2444750"/>
            <a:ext cx="5278438" cy="7096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9FD2F0C9-6661-1979-C245-9BD871599D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9575" y="2444750"/>
            <a:ext cx="4219575" cy="7096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14" name="Rectangle 11">
            <a:extLst>
              <a:ext uri="{FF2B5EF4-FFF2-40B4-BE49-F238E27FC236}">
                <a16:creationId xmlns:a16="http://schemas.microsoft.com/office/drawing/2014/main" id="{2C1676C7-F70E-BA20-2C6F-6BE4BED9AC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1138" y="3154363"/>
            <a:ext cx="5278438" cy="709613"/>
          </a:xfrm>
          <a:prstGeom prst="rect">
            <a:avLst/>
          </a:prstGeom>
          <a:solidFill>
            <a:srgbClr val="E7E7E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15" name="Rectangle 12">
            <a:extLst>
              <a:ext uri="{FF2B5EF4-FFF2-40B4-BE49-F238E27FC236}">
                <a16:creationId xmlns:a16="http://schemas.microsoft.com/office/drawing/2014/main" id="{FD18444E-21F4-CCAF-3445-2DB19DDB3A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9575" y="3154363"/>
            <a:ext cx="4219575" cy="709613"/>
          </a:xfrm>
          <a:prstGeom prst="rect">
            <a:avLst/>
          </a:prstGeom>
          <a:solidFill>
            <a:srgbClr val="E7E7E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D839460C-E133-06D9-1BD3-E6ECFBD40F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1138" y="3863975"/>
            <a:ext cx="5278438" cy="7096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17" name="Rectangle 14">
            <a:extLst>
              <a:ext uri="{FF2B5EF4-FFF2-40B4-BE49-F238E27FC236}">
                <a16:creationId xmlns:a16="http://schemas.microsoft.com/office/drawing/2014/main" id="{3EA6E492-611C-9EA8-FD78-B2A8CAF452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9575" y="3863975"/>
            <a:ext cx="4219575" cy="7096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18" name="Rectangle 15">
            <a:extLst>
              <a:ext uri="{FF2B5EF4-FFF2-40B4-BE49-F238E27FC236}">
                <a16:creationId xmlns:a16="http://schemas.microsoft.com/office/drawing/2014/main" id="{7322DA08-C5B9-1BD7-A39E-ED6DCFF576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1138" y="4573588"/>
            <a:ext cx="5278438" cy="393700"/>
          </a:xfrm>
          <a:prstGeom prst="rect">
            <a:avLst/>
          </a:prstGeom>
          <a:solidFill>
            <a:srgbClr val="E7E7E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19" name="Rectangle 16">
            <a:extLst>
              <a:ext uri="{FF2B5EF4-FFF2-40B4-BE49-F238E27FC236}">
                <a16:creationId xmlns:a16="http://schemas.microsoft.com/office/drawing/2014/main" id="{98EDD4B9-D02A-CAA6-8B51-A243C10116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9575" y="4573588"/>
            <a:ext cx="4219575" cy="393700"/>
          </a:xfrm>
          <a:prstGeom prst="rect">
            <a:avLst/>
          </a:prstGeom>
          <a:solidFill>
            <a:srgbClr val="E7E7E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20" name="Rectangle 17">
            <a:extLst>
              <a:ext uri="{FF2B5EF4-FFF2-40B4-BE49-F238E27FC236}">
                <a16:creationId xmlns:a16="http://schemas.microsoft.com/office/drawing/2014/main" id="{CC0DA736-E007-DA5F-1240-CA4BDB5E22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1138" y="4967288"/>
            <a:ext cx="5278438" cy="3937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21" name="Rectangle 18">
            <a:extLst>
              <a:ext uri="{FF2B5EF4-FFF2-40B4-BE49-F238E27FC236}">
                <a16:creationId xmlns:a16="http://schemas.microsoft.com/office/drawing/2014/main" id="{E3930A8F-8991-C2A8-4FAE-A6C4E4905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9575" y="4967288"/>
            <a:ext cx="4219575" cy="3937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22" name="Rectangle 19">
            <a:extLst>
              <a:ext uri="{FF2B5EF4-FFF2-40B4-BE49-F238E27FC236}">
                <a16:creationId xmlns:a16="http://schemas.microsoft.com/office/drawing/2014/main" id="{A7AF5957-7F42-3596-1206-F2F4B4D970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1138" y="5360987"/>
            <a:ext cx="5278438" cy="687214"/>
          </a:xfrm>
          <a:prstGeom prst="rect">
            <a:avLst/>
          </a:prstGeom>
          <a:solidFill>
            <a:srgbClr val="E7E7E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23" name="Rectangle 20">
            <a:extLst>
              <a:ext uri="{FF2B5EF4-FFF2-40B4-BE49-F238E27FC236}">
                <a16:creationId xmlns:a16="http://schemas.microsoft.com/office/drawing/2014/main" id="{D4E130DE-FD3E-123E-B2F3-DA26EF5015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9575" y="5383565"/>
            <a:ext cx="4219575" cy="642255"/>
          </a:xfrm>
          <a:prstGeom prst="rect">
            <a:avLst/>
          </a:prstGeom>
          <a:solidFill>
            <a:srgbClr val="E7E7E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24" name="Line 21">
            <a:extLst>
              <a:ext uri="{FF2B5EF4-FFF2-40B4-BE49-F238E27FC236}">
                <a16:creationId xmlns:a16="http://schemas.microsoft.com/office/drawing/2014/main" id="{1EFA1408-1274-CF0A-B0AC-84C7CE9F18A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81138" y="1735138"/>
            <a:ext cx="9498013" cy="0"/>
          </a:xfrm>
          <a:prstGeom prst="line">
            <a:avLst/>
          </a:prstGeom>
          <a:noFill/>
          <a:ln w="22225" cap="flat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25" name="Line 22">
            <a:extLst>
              <a:ext uri="{FF2B5EF4-FFF2-40B4-BE49-F238E27FC236}">
                <a16:creationId xmlns:a16="http://schemas.microsoft.com/office/drawing/2014/main" id="{30C31954-1C8A-D518-F43A-BD3D9B1E30DA}"/>
              </a:ext>
            </a:extLst>
          </p:cNvPr>
          <p:cNvSpPr>
            <a:spLocks noChangeShapeType="1"/>
          </p:cNvSpPr>
          <p:nvPr/>
        </p:nvSpPr>
        <p:spPr bwMode="auto">
          <a:xfrm>
            <a:off x="1481138" y="6501167"/>
            <a:ext cx="9498013" cy="0"/>
          </a:xfrm>
          <a:prstGeom prst="line">
            <a:avLst/>
          </a:prstGeom>
          <a:noFill/>
          <a:ln w="22225" cap="flat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SE"/>
          </a:p>
        </p:txBody>
      </p:sp>
      <p:sp>
        <p:nvSpPr>
          <p:cNvPr id="26" name="Rectangle 23">
            <a:extLst>
              <a:ext uri="{FF2B5EF4-FFF2-40B4-BE49-F238E27FC236}">
                <a16:creationId xmlns:a16="http://schemas.microsoft.com/office/drawing/2014/main" id="{B7A62AF3-555D-C828-01F6-B33FE01238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0538" y="1771650"/>
            <a:ext cx="5064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Yes</a:t>
            </a:r>
            <a:endParaRPr kumimoji="0" lang="en-SE" altLang="en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Rectangle 24">
            <a:extLst>
              <a:ext uri="{FF2B5EF4-FFF2-40B4-BE49-F238E27FC236}">
                <a16:creationId xmlns:a16="http://schemas.microsoft.com/office/drawing/2014/main" id="{E45A6BCE-4030-D783-26F1-E39E2901A5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2100" y="1771650"/>
            <a:ext cx="475386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o firms decrease emissions as a result of a</a:t>
            </a:r>
            <a:endParaRPr kumimoji="0" lang="en-US" altLang="en-SE" sz="21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r>
              <a:rPr lang="en-SE" altLang="en-SE" sz="2100" dirty="0">
                <a:solidFill>
                  <a:srgbClr val="000000"/>
                </a:solidFill>
                <a:latin typeface="Calibri" panose="020F0502020204030204" pitchFamily="34" charset="0"/>
              </a:rPr>
              <a:t>carbon tax?</a:t>
            </a:r>
            <a:endParaRPr lang="en-SE" altLang="en-SE" dirty="0"/>
          </a:p>
        </p:txBody>
      </p:sp>
      <p:sp>
        <p:nvSpPr>
          <p:cNvPr id="29" name="Rectangle 26">
            <a:extLst>
              <a:ext uri="{FF2B5EF4-FFF2-40B4-BE49-F238E27FC236}">
                <a16:creationId xmlns:a16="http://schemas.microsoft.com/office/drawing/2014/main" id="{B331C29D-9505-693E-2CF2-2688045D6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0538" y="2482850"/>
            <a:ext cx="15811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SE" altLang="en-SE" sz="21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p to 3 years</a:t>
            </a:r>
            <a:endParaRPr kumimoji="0" lang="en-SE" altLang="en-S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Rectangle 27">
            <a:extLst>
              <a:ext uri="{FF2B5EF4-FFF2-40B4-BE49-F238E27FC236}">
                <a16:creationId xmlns:a16="http://schemas.microsoft.com/office/drawing/2014/main" id="{CA31B8DD-58FE-9C57-68F2-6244AFB428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2100" y="2482850"/>
            <a:ext cx="46386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How long does it take for firms to adjust?</a:t>
            </a:r>
            <a:endParaRPr kumimoji="0" lang="en-SE" altLang="en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Rectangle 28">
            <a:extLst>
              <a:ext uri="{FF2B5EF4-FFF2-40B4-BE49-F238E27FC236}">
                <a16:creationId xmlns:a16="http://schemas.microsoft.com/office/drawing/2014/main" id="{2E821FFA-4986-7971-573B-A012D8A25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9576" y="3192462"/>
            <a:ext cx="387032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(+) 1 % in CO2 tax to sales</a:t>
            </a:r>
            <a:r>
              <a:rPr kumimoji="0" lang="sv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SE" altLang="en-SE" sz="2100" dirty="0">
                <a:solidFill>
                  <a:srgbClr val="000000"/>
                </a:solidFill>
                <a:latin typeface="Wingdings" panose="05000000000000000000" pitchFamily="2" charset="2"/>
              </a:rPr>
              <a:t>à</a:t>
            </a:r>
            <a:endParaRPr kumimoji="0" lang="sv-SE" altLang="en-SE" sz="21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r>
              <a:rPr lang="en-GB" sz="2100" dirty="0">
                <a:latin typeface="+mn-lt"/>
                <a:sym typeface="Wingdings" panose="05000000000000000000" pitchFamily="2" charset="2"/>
              </a:rPr>
              <a:t>(-) 1.5 - 2 % emissions to sales</a:t>
            </a:r>
            <a:endParaRPr lang="en-SE" sz="2100" dirty="0">
              <a:latin typeface="+mn-lt"/>
            </a:endParaRPr>
          </a:p>
        </p:txBody>
      </p:sp>
      <p:sp>
        <p:nvSpPr>
          <p:cNvPr id="38" name="Rectangle 35">
            <a:extLst>
              <a:ext uri="{FF2B5EF4-FFF2-40B4-BE49-F238E27FC236}">
                <a16:creationId xmlns:a16="http://schemas.microsoft.com/office/drawing/2014/main" id="{13001B97-D01E-F5AF-1D58-9D31F84975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2100" y="3192464"/>
            <a:ext cx="414496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H</a:t>
            </a:r>
            <a:r>
              <a:rPr kumimoji="0" lang="sv-SE" altLang="en-SE" sz="21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+mn-lt"/>
              </a:rPr>
              <a:t>ow</a:t>
            </a:r>
            <a:r>
              <a:rPr lang="en-SE" altLang="en-SE" sz="2100" dirty="0">
                <a:solidFill>
                  <a:srgbClr val="000000"/>
                </a:solidFill>
                <a:latin typeface="+mn-lt"/>
              </a:rPr>
              <a:t> big is the effect?</a:t>
            </a:r>
            <a:endParaRPr lang="en-SE" altLang="en-SE" sz="2100" dirty="0">
              <a:latin typeface="+mn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SE" altLang="en-SE" sz="21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1" name="Rectangle 38">
            <a:extLst>
              <a:ext uri="{FF2B5EF4-FFF2-40B4-BE49-F238E27FC236}">
                <a16:creationId xmlns:a16="http://schemas.microsoft.com/office/drawing/2014/main" id="{87DA2F40-74C1-46E8-D480-077B3CB937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0538" y="3902075"/>
            <a:ext cx="5064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Yes</a:t>
            </a:r>
            <a:endParaRPr kumimoji="0" lang="en-SE" altLang="en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Rectangle 39">
            <a:extLst>
              <a:ext uri="{FF2B5EF4-FFF2-40B4-BE49-F238E27FC236}">
                <a16:creationId xmlns:a16="http://schemas.microsoft.com/office/drawing/2014/main" id="{FCC9A47E-B695-5C36-5656-6D9A3EC82B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2100" y="3902075"/>
            <a:ext cx="536416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re there differences between how much firms </a:t>
            </a:r>
            <a:endParaRPr kumimoji="0" lang="en-SE" altLang="en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3" name="Rectangle 40">
            <a:extLst>
              <a:ext uri="{FF2B5EF4-FFF2-40B4-BE49-F238E27FC236}">
                <a16:creationId xmlns:a16="http://schemas.microsoft.com/office/drawing/2014/main" id="{9EBBB14C-E0B1-68A6-844C-2035BE5B20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2100" y="4214813"/>
            <a:ext cx="237172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ecrease emissions?</a:t>
            </a:r>
            <a:endParaRPr kumimoji="0" lang="en-SE" altLang="en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Rectangle 41">
            <a:extLst>
              <a:ext uri="{FF2B5EF4-FFF2-40B4-BE49-F238E27FC236}">
                <a16:creationId xmlns:a16="http://schemas.microsoft.com/office/drawing/2014/main" id="{BB4748E5-2D8C-A95E-0814-2A0FCC35AF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0538" y="4611688"/>
            <a:ext cx="5064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SE" altLang="en-SE" sz="21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Yes</a:t>
            </a:r>
            <a:endParaRPr kumimoji="0" lang="en-SE" altLang="en-S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" name="Rectangle 42">
            <a:extLst>
              <a:ext uri="{FF2B5EF4-FFF2-40B4-BE49-F238E27FC236}">
                <a16:creationId xmlns:a16="http://schemas.microsoft.com/office/drawing/2014/main" id="{26ECB962-30AD-0C9E-6971-EE12E8B123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2100" y="4611688"/>
            <a:ext cx="396398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re differences due to technology?</a:t>
            </a:r>
            <a:endParaRPr kumimoji="0" lang="en-SE" altLang="en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" name="Rectangle 43">
            <a:extLst>
              <a:ext uri="{FF2B5EF4-FFF2-40B4-BE49-F238E27FC236}">
                <a16:creationId xmlns:a16="http://schemas.microsoft.com/office/drawing/2014/main" id="{3B3BE40B-7D68-1FA3-5F0C-B824B1D906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0538" y="5005388"/>
            <a:ext cx="271388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Yes</a:t>
            </a:r>
            <a:r>
              <a:rPr kumimoji="0" lang="en-GB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(listed,</a:t>
            </a:r>
            <a:r>
              <a:rPr kumimoji="0" lang="en-GB" altLang="en-SE" sz="2100" b="0" i="0" u="none" strike="noStrike" cap="none" normalizeH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age, size etc)</a:t>
            </a:r>
            <a:endParaRPr kumimoji="0" lang="en-SE" altLang="en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" name="Rectangle 44">
            <a:extLst>
              <a:ext uri="{FF2B5EF4-FFF2-40B4-BE49-F238E27FC236}">
                <a16:creationId xmlns:a16="http://schemas.microsoft.com/office/drawing/2014/main" id="{3A138EBD-875B-295B-2C7B-272A1AA39E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2100" y="5005388"/>
            <a:ext cx="460692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re differences due to access to finance?</a:t>
            </a:r>
            <a:endParaRPr kumimoji="0" lang="en-SE" altLang="en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Rectangle 45">
            <a:extLst>
              <a:ext uri="{FF2B5EF4-FFF2-40B4-BE49-F238E27FC236}">
                <a16:creationId xmlns:a16="http://schemas.microsoft.com/office/drawing/2014/main" id="{67C26751-3CBF-0583-F7A8-363598976D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8076" y="5308956"/>
            <a:ext cx="298440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Yes (</a:t>
            </a:r>
            <a:r>
              <a:rPr kumimoji="0" lang="en-GB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~2/3 of </a:t>
            </a:r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1 % decrease</a:t>
            </a:r>
            <a:r>
              <a:rPr kumimoji="0" lang="en-GB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f </a:t>
            </a:r>
            <a:r>
              <a:rPr kumimoji="0" lang="en-GB" altLang="en-SE" sz="21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nd</a:t>
            </a:r>
            <a:r>
              <a:rPr kumimoji="0" lang="en-GB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heating</a:t>
            </a:r>
            <a:r>
              <a:rPr kumimoji="0" lang="en-GB" altLang="en-SE" sz="2100" b="0" i="0" u="none" strike="noStrike" cap="none" normalizeH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kumimoji="0" lang="en-GB" altLang="en-SE" sz="2100" b="0" i="0" u="none" strike="noStrike" cap="none" normalizeH="0" dirty="0" err="1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m</a:t>
            </a:r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)</a:t>
            </a:r>
            <a:endParaRPr kumimoji="0" lang="en-SE" altLang="en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9" name="Rectangle 46">
            <a:extLst>
              <a:ext uri="{FF2B5EF4-FFF2-40B4-BE49-F238E27FC236}">
                <a16:creationId xmlns:a16="http://schemas.microsoft.com/office/drawing/2014/main" id="{DC0D9A92-2DF9-3316-161D-FB8043445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62100" y="5399088"/>
            <a:ext cx="531653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s there a sizable effect of CO2 tax on emissions</a:t>
            </a:r>
            <a:endParaRPr kumimoji="0" lang="en-SE" altLang="en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ctangle 43">
            <a:extLst>
              <a:ext uri="{FF2B5EF4-FFF2-40B4-BE49-F238E27FC236}">
                <a16:creationId xmlns:a16="http://schemas.microsoft.com/office/drawing/2014/main" id="{F47DCA97-F704-C883-AC6E-0D19522150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7838" y="6104646"/>
            <a:ext cx="5064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Yes</a:t>
            </a:r>
            <a:endParaRPr kumimoji="0" lang="en-SE" altLang="en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Rectangle 44">
            <a:extLst>
              <a:ext uri="{FF2B5EF4-FFF2-40B4-BE49-F238E27FC236}">
                <a16:creationId xmlns:a16="http://schemas.microsoft.com/office/drawing/2014/main" id="{10C7F4F8-25F1-8ACF-AD73-10B4DDC588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49400" y="6048201"/>
            <a:ext cx="310745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SE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re </a:t>
            </a:r>
            <a:r>
              <a:rPr kumimoji="0" lang="en-GB" altLang="en-SE" sz="2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sults robust to</a:t>
            </a:r>
            <a:r>
              <a:rPr kumimoji="0" lang="en-GB" altLang="en-SE" sz="2100" b="0" i="0" u="none" strike="noStrike" cap="none" normalizeH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EUETS?</a:t>
            </a:r>
            <a:endParaRPr kumimoji="0" lang="en-SE" altLang="en-S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567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/>
      <p:bldP spid="27" grpId="0"/>
      <p:bldP spid="29" grpId="0"/>
      <p:bldP spid="30" grpId="0"/>
      <p:bldP spid="31" grpId="0"/>
      <p:bldP spid="38" grpId="0"/>
      <p:bldP spid="41" grpId="0"/>
      <p:bldP spid="42" grpId="0"/>
      <p:bldP spid="43" grpId="0"/>
      <p:bldP spid="44" grpId="0"/>
      <p:bldP spid="45" grpId="0"/>
      <p:bldP spid="46" grpId="0"/>
      <p:bldP spid="47" grpId="0"/>
      <p:bldP spid="48" grpId="0"/>
      <p:bldP spid="49" grpId="0"/>
      <p:bldP spid="2" grpId="0"/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D78C8-3933-C74F-A9E9-618B4D3BA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E" b="1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1B398E-1614-834B-ABB1-006596F6F0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SE" dirty="0"/>
              <a:t>Estimate effect of carbon tax on firm emissions over 25-year period</a:t>
            </a:r>
          </a:p>
          <a:p>
            <a:r>
              <a:rPr lang="en-SE" dirty="0"/>
              <a:t>1% increase in marginal tax cost  </a:t>
            </a:r>
            <a:r>
              <a:rPr lang="en-SE" dirty="0">
                <a:sym typeface="Wingdings" pitchFamily="2" charset="2"/>
              </a:rPr>
              <a:t> 2% lower emission intensity</a:t>
            </a:r>
          </a:p>
          <a:p>
            <a:r>
              <a:rPr lang="en-SE" dirty="0">
                <a:sym typeface="Wingdings" pitchFamily="2" charset="2"/>
              </a:rPr>
              <a:t>Simple calibration  carbon pricing can account for about up to 2/3 of reduction in aggregate emissions</a:t>
            </a:r>
          </a:p>
          <a:p>
            <a:r>
              <a:rPr lang="en-GB" dirty="0">
                <a:sym typeface="Wingdings" pitchFamily="2" charset="2"/>
              </a:rPr>
              <a:t>Differences between firms due to technology and access to finance</a:t>
            </a:r>
          </a:p>
          <a:p>
            <a:endParaRPr lang="en-SE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488285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A2E17-A4AC-13E5-A5C5-8EA607D3EC2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GB" sz="4400" dirty="0"/>
              <a:t>Thank you</a:t>
            </a:r>
            <a:endParaRPr lang="en-SE" sz="4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0F3120-E0CD-0F17-42A0-F9945202C5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2526619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Christian Thomann</a:t>
            </a:r>
          </a:p>
          <a:p>
            <a:r>
              <a:rPr lang="en-GB" dirty="0">
                <a:hlinkClick r:id="rId2"/>
              </a:rPr>
              <a:t>christian.Thomann@indek.kth.se</a:t>
            </a:r>
            <a:endParaRPr lang="en-GB" dirty="0"/>
          </a:p>
          <a:p>
            <a:endParaRPr lang="en-GB" dirty="0"/>
          </a:p>
          <a:p>
            <a:r>
              <a:rPr lang="en-GB" dirty="0"/>
              <a:t>Link to paper: </a:t>
            </a:r>
          </a:p>
          <a:p>
            <a:r>
              <a:rPr lang="en-US" dirty="0">
                <a:hlinkClick r:id="rId3"/>
              </a:rPr>
              <a:t>Carbon Pricing and Firm-Level CO2 Abatement: Evidence from a Quarter of a Century-Long Panel by Gustav Martinsson, Per Strömberg, Laszlo Sajtos, Christian J. Thomann :: SSRN</a:t>
            </a:r>
            <a:endParaRPr lang="en-US" dirty="0"/>
          </a:p>
          <a:p>
            <a:r>
              <a:rPr lang="en-US" dirty="0"/>
              <a:t>Paper is accepted at Review of Financial Studi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5613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F35446-1424-F2F8-1E1D-2F46F7A5FD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weden</a:t>
            </a:r>
            <a:endParaRPr lang="en-S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9F59D7-002D-7091-172A-7CD1EBA82D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10.5 million </a:t>
            </a:r>
            <a:r>
              <a:rPr lang="en-US"/>
              <a:t>people </a:t>
            </a:r>
          </a:p>
          <a:p>
            <a:r>
              <a:rPr lang="en-US"/>
              <a:t>68 </a:t>
            </a:r>
            <a:r>
              <a:rPr lang="en-US" dirty="0"/>
              <a:t>% landscape is covered by forests, and 9% by lakes.</a:t>
            </a:r>
          </a:p>
          <a:p>
            <a:r>
              <a:rPr lang="en-US" dirty="0"/>
              <a:t>Major natural resources, mainly forests, iron ore (accounted for as much as 93% of EU resources) and hydropower.</a:t>
            </a:r>
          </a:p>
          <a:p>
            <a:r>
              <a:rPr lang="en-US" dirty="0"/>
              <a:t>Export-oriented country, major exports are vehicles for roads, mineral oils, medical and pharmaceutical products, other non-electrical machinery paper, paperboard and articles thereof, etc..</a:t>
            </a:r>
          </a:p>
          <a:p>
            <a:r>
              <a:rPr lang="en-US" dirty="0"/>
              <a:t>Fraction of energy usage per sector: around 33% electricity, 16% fossil fuels, 42% biofuels.</a:t>
            </a:r>
          </a:p>
          <a:p>
            <a:r>
              <a:rPr lang="en-US" dirty="0"/>
              <a:t>The iron and steel sector accounts for around 14% of total energy consumption of the whole industry.</a:t>
            </a:r>
          </a:p>
          <a:p>
            <a:r>
              <a:rPr lang="en-US" dirty="0"/>
              <a:t>Electricity production: 41% hydro, 29% nuclear, 19% wind, 10% combined heat and power plants (in-put basically non-fossil).</a:t>
            </a:r>
          </a:p>
          <a:p>
            <a:endParaRPr lang="en-SE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E465E05-4406-B7EF-4FC6-B4CFCE078F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1775" y="245758"/>
            <a:ext cx="2742217" cy="2343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25239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B65BC0-1469-4215-BDD5-91DD73117B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A brief history of Swedish tax law</a:t>
            </a:r>
            <a:endParaRPr lang="en-SE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D4D7C4-E41C-18B6-79A4-5A2264E884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Major tax reform in 1991</a:t>
            </a:r>
          </a:p>
          <a:p>
            <a:pPr lvl="1"/>
            <a:r>
              <a:rPr lang="en-GB" dirty="0"/>
              <a:t>Inspired by US Tax Reform Act 1986</a:t>
            </a:r>
          </a:p>
          <a:p>
            <a:pPr lvl="1"/>
            <a:r>
              <a:rPr lang="en-GB" dirty="0"/>
              <a:t>Corporate income tax is cut from 57 % to 30 %</a:t>
            </a:r>
          </a:p>
          <a:p>
            <a:pPr lvl="1"/>
            <a:r>
              <a:rPr lang="en-GB" dirty="0"/>
              <a:t>Dual income tax</a:t>
            </a:r>
          </a:p>
          <a:p>
            <a:pPr lvl="1"/>
            <a:r>
              <a:rPr lang="en-GB" dirty="0"/>
              <a:t>VAT increased</a:t>
            </a:r>
          </a:p>
          <a:p>
            <a:pPr lvl="1"/>
            <a:r>
              <a:rPr lang="en-GB" dirty="0"/>
              <a:t>Carbon tax introduced </a:t>
            </a:r>
          </a:p>
          <a:p>
            <a:r>
              <a:rPr lang="en-GB" dirty="0"/>
              <a:t>2005 carbon tax replaced by EU Emission Trading System for manufacturing and electricity production</a:t>
            </a:r>
          </a:p>
          <a:p>
            <a:r>
              <a:rPr lang="en-GB" dirty="0"/>
              <a:t>2008 green tax shift </a:t>
            </a:r>
          </a:p>
          <a:p>
            <a:pPr lvl="1"/>
            <a:r>
              <a:rPr lang="en-GB" dirty="0"/>
              <a:t>Increase of carbon tax and other environmental taxes</a:t>
            </a:r>
          </a:p>
          <a:p>
            <a:pPr lvl="1"/>
            <a:r>
              <a:rPr lang="en-GB" dirty="0"/>
              <a:t>Cut of </a:t>
            </a:r>
            <a:r>
              <a:rPr lang="en-GB" dirty="0" err="1"/>
              <a:t>labor</a:t>
            </a:r>
            <a:r>
              <a:rPr lang="en-GB" dirty="0"/>
              <a:t> taxes and social security payments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47616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B134E2-FA75-8E4C-9724-36F17D0166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2551" y="1207008"/>
            <a:ext cx="5235735" cy="5650992"/>
          </a:xfrm>
        </p:spPr>
        <p:txBody>
          <a:bodyPr>
            <a:normAutofit fontScale="77500" lnSpcReduction="20000"/>
          </a:bodyPr>
          <a:lstStyle/>
          <a:p>
            <a:r>
              <a:rPr lang="en-SE" dirty="0"/>
              <a:t>Carbon </a:t>
            </a:r>
            <a:r>
              <a:rPr lang="en-GB" dirty="0"/>
              <a:t>pricing is</a:t>
            </a:r>
            <a:r>
              <a:rPr lang="en-SE" dirty="0"/>
              <a:t> a key climate policy tool to make firms internalize the costs of their emissions</a:t>
            </a:r>
          </a:p>
          <a:p>
            <a:pPr lvl="1"/>
            <a:r>
              <a:rPr lang="en-GB" dirty="0"/>
              <a:t>Nordhaus (1993) ; </a:t>
            </a:r>
            <a:r>
              <a:rPr lang="en-GB" dirty="0" err="1"/>
              <a:t>Golosov</a:t>
            </a:r>
            <a:r>
              <a:rPr lang="en-GB" dirty="0"/>
              <a:t> et al. (2014); </a:t>
            </a:r>
            <a:r>
              <a:rPr lang="en-GB" dirty="0" err="1"/>
              <a:t>Rockström</a:t>
            </a:r>
            <a:r>
              <a:rPr lang="en-GB" dirty="0"/>
              <a:t> et al. (2017); Sterner et al. (2019)</a:t>
            </a:r>
          </a:p>
          <a:p>
            <a:pPr lvl="1"/>
            <a:r>
              <a:rPr lang="en-GB" dirty="0"/>
              <a:t>Central instrument for Sweden to reach climate goal</a:t>
            </a:r>
          </a:p>
          <a:p>
            <a:pPr lvl="1"/>
            <a:r>
              <a:rPr lang="en-GB" dirty="0">
                <a:sym typeface="Wingdings" pitchFamily="2" charset="2"/>
              </a:rPr>
              <a:t>Cost efficient market based approach</a:t>
            </a:r>
          </a:p>
          <a:p>
            <a:pPr marL="457200" lvl="1" indent="0">
              <a:buNone/>
            </a:pPr>
            <a:endParaRPr lang="en-GB" dirty="0"/>
          </a:p>
          <a:p>
            <a:r>
              <a:rPr lang="en-GB" dirty="0"/>
              <a:t>Existing schemes are far from ideal</a:t>
            </a:r>
          </a:p>
          <a:p>
            <a:pPr lvl="1"/>
            <a:r>
              <a:rPr lang="en-GB" dirty="0"/>
              <a:t>Regional, not global</a:t>
            </a:r>
          </a:p>
          <a:p>
            <a:pPr lvl="2"/>
            <a:r>
              <a:rPr lang="en-GB" dirty="0"/>
              <a:t>CO2 has same effect on climate regardless of where it is emitted</a:t>
            </a:r>
          </a:p>
          <a:p>
            <a:pPr lvl="1"/>
            <a:r>
              <a:rPr lang="en-GB" dirty="0"/>
              <a:t>Tax levels lower than “optimal” (Nordhaus, Stern, </a:t>
            </a:r>
            <a:r>
              <a:rPr lang="en-GB" dirty="0" err="1"/>
              <a:t>Golosov</a:t>
            </a:r>
            <a:r>
              <a:rPr lang="en-GB" dirty="0"/>
              <a:t> et al)</a:t>
            </a:r>
          </a:p>
          <a:p>
            <a:pPr lvl="1"/>
            <a:r>
              <a:rPr lang="en-GB" dirty="0"/>
              <a:t>Cover only part of CO2-emissions</a:t>
            </a:r>
          </a:p>
          <a:p>
            <a:pPr lvl="1"/>
            <a:r>
              <a:rPr lang="en-GB" dirty="0"/>
              <a:t>Differences in pricing across emitters due to exemptions</a:t>
            </a:r>
          </a:p>
          <a:p>
            <a:pPr lvl="1"/>
            <a:endParaRPr lang="en-GB" dirty="0"/>
          </a:p>
          <a:p>
            <a:pPr marL="0" indent="0">
              <a:buNone/>
            </a:pPr>
            <a:r>
              <a:rPr lang="en-GB" dirty="0">
                <a:sym typeface="Wingdings" pitchFamily="2" charset="2"/>
              </a:rPr>
              <a:t> </a:t>
            </a:r>
            <a:r>
              <a:rPr lang="en-GB" b="1" dirty="0"/>
              <a:t>Do they have any effect on emissions? </a:t>
            </a:r>
          </a:p>
          <a:p>
            <a:pPr lvl="1"/>
            <a:endParaRPr lang="en-GB" dirty="0"/>
          </a:p>
          <a:p>
            <a:pPr marL="457200" lvl="1" indent="0">
              <a:buNone/>
            </a:pPr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S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D0B79D-B6C8-DD48-9720-C8B868E1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r>
              <a:rPr lang="en-SE" b="1" dirty="0"/>
              <a:t>Motivation</a:t>
            </a:r>
            <a:r>
              <a:rPr lang="en-GB" b="1" dirty="0"/>
              <a:t> &amp; Background</a:t>
            </a:r>
            <a:endParaRPr lang="en-SE" b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2533512-00E3-2F68-A341-5785438693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5917" y="1101686"/>
            <a:ext cx="6032181" cy="5744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378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7463B4-4102-584F-9923-7A73BA0D04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92318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7463B4-4102-584F-9923-7A73BA0D04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314C16-EE57-3D49-B5F0-C1FC47D72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 vert="horz"/>
          <a:lstStyle/>
          <a:p>
            <a:r>
              <a:rPr lang="en-SE" b="1" dirty="0"/>
              <a:t>What we do</a:t>
            </a:r>
            <a:r>
              <a:rPr lang="en-GB" b="1" dirty="0"/>
              <a:t> in our paper</a:t>
            </a:r>
            <a:endParaRPr lang="en-SE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675DDD59-6F66-A94A-BF24-30B2A339883F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440232" y="1146048"/>
                <a:ext cx="11311536" cy="5314783"/>
              </a:xfrm>
            </p:spPr>
            <p:txBody>
              <a:bodyPr>
                <a:normAutofit/>
              </a:bodyPr>
              <a:lstStyle/>
              <a:p>
                <a:r>
                  <a:rPr lang="en-US" dirty="0"/>
                  <a:t>Study effect of carbon pricing on firm-level emission intensities </a:t>
                </a:r>
              </a:p>
              <a:p>
                <a:pPr marL="457200" lvl="1" indent="0">
                  <a:buNone/>
                </a:pPr>
                <a:r>
                  <a:rPr lang="en-GB" dirty="0"/>
                  <a:t>Emission intensity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pt-BR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i="1">
                            <a:latin typeface="Cambria Math" panose="02040503050406030204" pitchFamily="18" charset="0"/>
                          </a:rPr>
                          <m:t>𝐸𝑚𝑖𝑠𝑠𝑖𝑜𝑛𝑠</m:t>
                        </m:r>
                        <m:r>
                          <a:rPr lang="en-GB" i="1">
                            <a:latin typeface="Cambria Math" panose="02040503050406030204" pitchFamily="18" charset="0"/>
                          </a:rPr>
                          <m:t> (</m:t>
                        </m:r>
                        <m:r>
                          <a:rPr lang="en-GB" i="1">
                            <a:latin typeface="Cambria Math" panose="02040503050406030204" pitchFamily="18" charset="0"/>
                          </a:rPr>
                          <m:t>𝑘𝑔</m:t>
                        </m:r>
                        <m:r>
                          <a:rPr lang="en-GB" i="1">
                            <a:latin typeface="Cambria Math" panose="02040503050406030204" pitchFamily="18" charset="0"/>
                          </a:rPr>
                          <m:t> </m:t>
                        </m:r>
                        <m:sSub>
                          <m:sSubPr>
                            <m:ctrlPr>
                              <a:rPr lang="en-GB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i="1">
                                <a:latin typeface="Cambria Math" panose="02040503050406030204" pitchFamily="18" charset="0"/>
                              </a:rPr>
                              <m:t>𝐶𝑂</m:t>
                            </m:r>
                          </m:e>
                          <m:sub>
                            <m:r>
                              <a:rPr lang="en-GB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en-GB" i="1">
                            <a:latin typeface="Cambria Math" panose="02040503050406030204" pitchFamily="18" charset="0"/>
                          </a:rPr>
                          <m:t>)</m:t>
                        </m:r>
                      </m:num>
                      <m:den>
                        <m:r>
                          <a:rPr lang="en-GB" i="1">
                            <a:latin typeface="Cambria Math" panose="02040503050406030204" pitchFamily="18" charset="0"/>
                          </a:rPr>
                          <m:t>𝑆𝑎𝑙𝑒𝑠</m:t>
                        </m:r>
                        <m:r>
                          <a:rPr lang="en-GB" i="1">
                            <a:latin typeface="Cambria Math" panose="02040503050406030204" pitchFamily="18" charset="0"/>
                          </a:rPr>
                          <m:t> (</m:t>
                        </m:r>
                        <m:r>
                          <a:rPr lang="en-GB" i="1">
                            <a:latin typeface="Cambria Math" panose="02040503050406030204" pitchFamily="18" charset="0"/>
                          </a:rPr>
                          <m:t>𝑆𝐸𝐾</m:t>
                        </m:r>
                        <m:r>
                          <a:rPr lang="en-GB" i="1">
                            <a:latin typeface="Cambria Math" panose="02040503050406030204" pitchFamily="18" charset="0"/>
                          </a:rPr>
                          <m:t> 2010)</m:t>
                        </m:r>
                      </m:den>
                    </m:f>
                  </m:oMath>
                </a14:m>
                <a:endParaRPr lang="en-US" dirty="0"/>
              </a:p>
              <a:p>
                <a:endParaRPr lang="en-US" dirty="0"/>
              </a:p>
              <a:p>
                <a:r>
                  <a:rPr lang="en-US" dirty="0"/>
                  <a:t>Comprehensive data on CO</a:t>
                </a:r>
                <a:r>
                  <a:rPr lang="en-US" baseline="-25000" dirty="0"/>
                  <a:t>2</a:t>
                </a:r>
                <a:r>
                  <a:rPr lang="en-US" dirty="0"/>
                  <a:t> emissions from Swedish manufacturing industry 1990-2015 </a:t>
                </a:r>
              </a:p>
              <a:p>
                <a:endParaRPr lang="en-US" dirty="0"/>
              </a:p>
              <a:p>
                <a:r>
                  <a:rPr lang="en-US" dirty="0"/>
                  <a:t>Calculate marginal cost of emitting CO</a:t>
                </a:r>
                <a:r>
                  <a:rPr lang="en-US" baseline="-25000" dirty="0"/>
                  <a:t>2</a:t>
                </a:r>
                <a:r>
                  <a:rPr lang="en-US" dirty="0"/>
                  <a:t> for every firm</a:t>
                </a:r>
              </a:p>
              <a:p>
                <a:endParaRPr lang="en-US" dirty="0"/>
              </a:p>
              <a:p>
                <a:r>
                  <a:rPr lang="en-US" dirty="0"/>
                  <a:t>Estimate long-run elasticities </a:t>
                </a:r>
              </a:p>
              <a:p>
                <a:pPr marL="457200" lvl="1" indent="0">
                  <a:buNone/>
                </a:pPr>
                <a:r>
                  <a:rPr lang="en-US" dirty="0"/>
                  <a:t>Run regressions where emission intensity is function of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𝑡𝑎𝑥</m:t>
                        </m:r>
                      </m:num>
                      <m:den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𝑠𝑎𝑙𝑒𝑠</m:t>
                        </m:r>
                      </m:den>
                    </m:f>
                  </m:oMath>
                </a14:m>
                <a:endParaRPr lang="en-US" dirty="0"/>
              </a:p>
              <a:p>
                <a:endParaRPr lang="en-US" dirty="0"/>
              </a:p>
              <a:p>
                <a:endParaRPr lang="en-US" dirty="0"/>
              </a:p>
              <a:p>
                <a:pPr lvl="1"/>
                <a:endParaRPr lang="en-US" dirty="0"/>
              </a:p>
              <a:p>
                <a:pPr marL="457200" lvl="1" indent="0">
                  <a:buNone/>
                </a:pPr>
                <a:endParaRPr lang="en-US" dirty="0"/>
              </a:p>
              <a:p>
                <a:pPr marL="457200" lvl="1" indent="0">
                  <a:buNone/>
                </a:pPr>
                <a:endParaRPr lang="en-GB" sz="3200" dirty="0"/>
              </a:p>
              <a:p>
                <a:pPr marL="457200" lvl="1" indent="0">
                  <a:buNone/>
                </a:pPr>
                <a:endParaRPr lang="en-SE" sz="3200" dirty="0"/>
              </a:p>
              <a:p>
                <a:pPr lvl="1"/>
                <a:endParaRPr lang="en-US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675DDD59-6F66-A94A-BF24-30B2A339883F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40232" y="1146048"/>
                <a:ext cx="11311536" cy="5314783"/>
              </a:xfrm>
              <a:blipFill>
                <a:blip r:embed="rId5"/>
                <a:stretch>
                  <a:fillRect l="-970" t="-1835"/>
                </a:stretch>
              </a:blipFill>
            </p:spPr>
            <p:txBody>
              <a:bodyPr/>
              <a:lstStyle/>
              <a:p>
                <a:r>
                  <a:rPr lang="en-S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624952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Data and sample: sour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4714301" cy="4351338"/>
          </a:xfrm>
        </p:spPr>
        <p:txBody>
          <a:bodyPr>
            <a:normAutofit/>
          </a:bodyPr>
          <a:lstStyle/>
          <a:p>
            <a:r>
              <a:rPr lang="en-US" sz="2400" dirty="0"/>
              <a:t>Firm level emissions data from Swedish Environmental Protection Agency 1990-2015</a:t>
            </a:r>
          </a:p>
          <a:p>
            <a:r>
              <a:rPr lang="en-US" sz="2400" dirty="0"/>
              <a:t>Combined with</a:t>
            </a:r>
          </a:p>
          <a:p>
            <a:pPr lvl="1"/>
            <a:r>
              <a:rPr lang="en-US" sz="2000" dirty="0"/>
              <a:t>Accounting data </a:t>
            </a:r>
          </a:p>
          <a:p>
            <a:pPr lvl="1"/>
            <a:r>
              <a:rPr lang="en-US" sz="2000" dirty="0"/>
              <a:t>Firm-level environmental protection expenditure</a:t>
            </a:r>
          </a:p>
          <a:p>
            <a:pPr lvl="1"/>
            <a:r>
              <a:rPr lang="en-US" sz="2000" dirty="0"/>
              <a:t>Data on tax rates and exemptions manually collected and used to infer tax payments for every firm.</a:t>
            </a:r>
          </a:p>
          <a:p>
            <a:pPr lvl="1"/>
            <a:r>
              <a:rPr lang="en-US" sz="2000" dirty="0"/>
              <a:t>Prices are deflated using detailed industry data</a:t>
            </a:r>
          </a:p>
          <a:p>
            <a:pPr lvl="1"/>
            <a:endParaRPr lang="en-US" sz="2000" dirty="0"/>
          </a:p>
          <a:p>
            <a:pPr marL="457200" lvl="1" indent="0">
              <a:buNone/>
            </a:pPr>
            <a:endParaRPr lang="en-US" sz="2000" dirty="0"/>
          </a:p>
          <a:p>
            <a:endParaRPr lang="en-US" sz="2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C0689B-06B6-82D4-24CF-6F6E8A9113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295393"/>
            <a:ext cx="5558697" cy="5197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483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0966B0B-6068-2C4D-BFBF-3EB21AF549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28190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0966B0B-6068-2C4D-BFBF-3EB21AF549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FFB216-4593-5646-8110-77A2C088F5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178" y="65923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SE" sz="4000" b="1" dirty="0"/>
              <a:t>Concentration of manufacturing CO2 emissio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F339185-1596-E244-B689-C836B105FB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4778" y="1178228"/>
            <a:ext cx="5571221" cy="495106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5ADB71E-E6B3-234E-8E1B-CBD2E11DB80B}"/>
              </a:ext>
            </a:extLst>
          </p:cNvPr>
          <p:cNvSpPr txBox="1"/>
          <p:nvPr/>
        </p:nvSpPr>
        <p:spPr>
          <a:xfrm>
            <a:off x="7016104" y="6191497"/>
            <a:ext cx="41749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E" dirty="0"/>
              <a:t>Emissions by 4-digit NACS emissions deci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86EF7C-15EA-9744-A5CE-7D44C19D0882}"/>
              </a:ext>
            </a:extLst>
          </p:cNvPr>
          <p:cNvSpPr txBox="1"/>
          <p:nvPr/>
        </p:nvSpPr>
        <p:spPr>
          <a:xfrm>
            <a:off x="1825093" y="6191497"/>
            <a:ext cx="3644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E" dirty="0"/>
              <a:t>Sales by 4-digit NACS emission deci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84D7E2A-FB24-5A4C-9898-14949D1D565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06978" y="1278436"/>
            <a:ext cx="5571221" cy="4878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270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71694-4DA5-A208-9340-3CF4617B5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Method and results</a:t>
            </a:r>
            <a:endParaRPr lang="en-SE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CE5332-9631-6280-86B3-43D346D25F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Estimate long term elasticities</a:t>
            </a:r>
          </a:p>
          <a:p>
            <a:pPr marL="0" indent="0">
              <a:buNone/>
            </a:pPr>
            <a:r>
              <a:rPr lang="en-GB" dirty="0"/>
              <a:t>	</a:t>
            </a:r>
            <a:r>
              <a:rPr lang="en-GB" i="1" dirty="0"/>
              <a:t>emission intensity </a:t>
            </a:r>
            <a:r>
              <a:rPr lang="en-GB" dirty="0"/>
              <a:t>is function of </a:t>
            </a:r>
            <a:r>
              <a:rPr lang="en-GB" i="1" dirty="0"/>
              <a:t>tax/sales </a:t>
            </a:r>
          </a:p>
          <a:p>
            <a:r>
              <a:rPr lang="en-GB" dirty="0"/>
              <a:t>Provide evidence for short-term effects (Difference in difference)</a:t>
            </a:r>
          </a:p>
          <a:p>
            <a:r>
              <a:rPr lang="en-GB" dirty="0"/>
              <a:t>Heterogenous effect (technology, access to finance, leakage)</a:t>
            </a:r>
          </a:p>
          <a:p>
            <a:r>
              <a:rPr lang="en-GB" dirty="0"/>
              <a:t>Calibration exercise</a:t>
            </a:r>
          </a:p>
          <a:p>
            <a:endParaRPr lang="en-SE" dirty="0"/>
          </a:p>
        </p:txBody>
      </p:sp>
    </p:spTree>
    <p:extLst>
      <p:ext uri="{BB962C8B-B14F-4D97-AF65-F5344CB8AC3E}">
        <p14:creationId xmlns:p14="http://schemas.microsoft.com/office/powerpoint/2010/main" val="1435523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516F23B-9A1B-AD41-942E-87E2AFA6D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516F23B-9A1B-AD41-942E-87E2AFA6D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106D4E-A059-2F4D-9D72-97028FC7ED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 vert="horz"/>
          <a:lstStyle/>
          <a:p>
            <a:r>
              <a:rPr lang="en-SE" b="1" dirty="0"/>
              <a:t>Estimating long-run tax elastic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3CC480-E27D-2749-854B-BAF3E99203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8135" y="1258784"/>
            <a:ext cx="10985665" cy="5459007"/>
          </a:xfrm>
        </p:spPr>
        <p:txBody>
          <a:bodyPr>
            <a:normAutofit lnSpcReduction="10000"/>
          </a:bodyPr>
          <a:lstStyle/>
          <a:p>
            <a:r>
              <a:rPr lang="en-SE" dirty="0"/>
              <a:t>Regression specification (Shapiro &amp; Walker, 2018):</a:t>
            </a:r>
          </a:p>
          <a:p>
            <a:endParaRPr lang="en-SE" dirty="0"/>
          </a:p>
          <a:p>
            <a:endParaRPr lang="en-SE" dirty="0"/>
          </a:p>
          <a:p>
            <a:pPr marL="457200" lvl="1" indent="0">
              <a:buNone/>
            </a:pPr>
            <a:endParaRPr lang="en-SE" dirty="0"/>
          </a:p>
          <a:p>
            <a:pPr lvl="1"/>
            <a:r>
              <a:rPr lang="en-SE" dirty="0"/>
              <a:t>Dep variable: (log of) CO2-emissions (kg) divided by PPE-adjusted sales (SEK)</a:t>
            </a:r>
          </a:p>
          <a:p>
            <a:pPr lvl="1"/>
            <a:r>
              <a:rPr lang="en-SE" dirty="0"/>
              <a:t>C</a:t>
            </a:r>
            <a:r>
              <a:rPr lang="en-SE" baseline="-25000" dirty="0"/>
              <a:t>i,t-s</a:t>
            </a:r>
            <a:r>
              <a:rPr lang="en-SE" dirty="0"/>
              <a:t> is marginal emission tax payments over sales (𝜏</a:t>
            </a:r>
            <a:r>
              <a:rPr lang="en-GB" baseline="-25000" dirty="0"/>
              <a:t>i</a:t>
            </a:r>
            <a:r>
              <a:rPr lang="en-SE" baseline="-25000" dirty="0"/>
              <a:t>,t</a:t>
            </a:r>
            <a:r>
              <a:rPr lang="en-SE" dirty="0"/>
              <a:t>/</a:t>
            </a:r>
            <a:r>
              <a:rPr lang="en-SE" i="1" dirty="0"/>
              <a:t>Y</a:t>
            </a:r>
            <a:r>
              <a:rPr lang="en-GB" baseline="-25000" dirty="0"/>
              <a:t> </a:t>
            </a:r>
            <a:r>
              <a:rPr lang="en-GB" baseline="-25000" dirty="0" err="1"/>
              <a:t>i</a:t>
            </a:r>
            <a:r>
              <a:rPr lang="en-SE" baseline="-25000" dirty="0"/>
              <a:t>,t</a:t>
            </a:r>
            <a:r>
              <a:rPr lang="en-SE" dirty="0"/>
              <a:t>)</a:t>
            </a:r>
          </a:p>
          <a:p>
            <a:pPr lvl="1"/>
            <a:endParaRPr lang="en-SE" dirty="0"/>
          </a:p>
          <a:p>
            <a:pPr lvl="1"/>
            <a:r>
              <a:rPr lang="en-GB" dirty="0"/>
              <a:t>                          captures the marginal change in profit margin from carbon tax payments </a:t>
            </a:r>
          </a:p>
          <a:p>
            <a:pPr lvl="1"/>
            <a:endParaRPr lang="en-GB" dirty="0"/>
          </a:p>
          <a:p>
            <a:r>
              <a:rPr lang="en-SE" dirty="0"/>
              <a:t>Identification from different marginal tax rates across firms and time:</a:t>
            </a:r>
          </a:p>
          <a:p>
            <a:pPr marL="914400" lvl="1" indent="-457200">
              <a:buAutoNum type="arabicParenBoth"/>
            </a:pPr>
            <a:r>
              <a:rPr lang="en-GB" dirty="0"/>
              <a:t>F</a:t>
            </a:r>
            <a:r>
              <a:rPr lang="en-SE" dirty="0"/>
              <a:t>irms face different marginal tax rates; </a:t>
            </a:r>
          </a:p>
          <a:p>
            <a:pPr marL="914400" lvl="1" indent="-457200">
              <a:buAutoNum type="arabicParenBoth"/>
            </a:pPr>
            <a:r>
              <a:rPr lang="en-SE" dirty="0"/>
              <a:t>Tax represent a different fraction of sales (tax is levied on tons of emissions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93D813-7839-2F43-B4E6-294BA6D31B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9678" y="3646146"/>
            <a:ext cx="1718460" cy="109582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222F50D-258B-2C48-0C24-DADB467870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8352" y="1818094"/>
            <a:ext cx="5854173" cy="766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9152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4cf8dcb-58cd-4afe-b3be-169826b38044">
      <Terms xmlns="http://schemas.microsoft.com/office/infopath/2007/PartnerControls"/>
    </lcf76f155ced4ddcb4097134ff3c332f>
    <TaxCatchAll xmlns="e700e6ea-e5b3-4de1-90a7-2b771b0c6c3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B5AC1D1AF1F764DB3CE266856C882FC" ma:contentTypeVersion="18" ma:contentTypeDescription="Create a new document." ma:contentTypeScope="" ma:versionID="1303059177cbac43a636dbe0d2afcf01">
  <xsd:schema xmlns:xsd="http://www.w3.org/2001/XMLSchema" xmlns:xs="http://www.w3.org/2001/XMLSchema" xmlns:p="http://schemas.microsoft.com/office/2006/metadata/properties" xmlns:ns2="24cf8dcb-58cd-4afe-b3be-169826b38044" xmlns:ns3="e700e6ea-e5b3-4de1-90a7-2b771b0c6c3b" targetNamespace="http://schemas.microsoft.com/office/2006/metadata/properties" ma:root="true" ma:fieldsID="baaf37bbc0fa45beee1d19e9a29701fa" ns2:_="" ns3:_="">
    <xsd:import namespace="24cf8dcb-58cd-4afe-b3be-169826b38044"/>
    <xsd:import namespace="e700e6ea-e5b3-4de1-90a7-2b771b0c6c3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cf8dcb-58cd-4afe-b3be-169826b380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781b0229-19ef-4425-8520-9f00e8db620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5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00e6ea-e5b3-4de1-90a7-2b771b0c6c3b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268779ad-3f9b-46ef-b7b3-15614e66f3a3}" ma:internalName="TaxCatchAll" ma:showField="CatchAllData" ma:web="e700e6ea-e5b3-4de1-90a7-2b771b0c6c3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A65428A-B514-432B-B4A7-F11712BFECE0}">
  <ds:schemaRefs>
    <ds:schemaRef ds:uri="http://schemas.microsoft.com/office/2006/metadata/properties"/>
    <ds:schemaRef ds:uri="http://schemas.microsoft.com/office/infopath/2007/PartnerControls"/>
    <ds:schemaRef ds:uri="c1fdd505-2570-46c2-bd04-3e0f2d874cf5"/>
    <ds:schemaRef ds:uri="cb3dd97c-7d79-42b4-b7e8-bb65b0e1b5ea"/>
    <ds:schemaRef ds:uri="0fa1c817-576d-4628-aea3-a0fa8d5e5e07"/>
    <ds:schemaRef ds:uri="24cf8dcb-58cd-4afe-b3be-169826b38044"/>
    <ds:schemaRef ds:uri="e700e6ea-e5b3-4de1-90a7-2b771b0c6c3b"/>
  </ds:schemaRefs>
</ds:datastoreItem>
</file>

<file path=customXml/itemProps2.xml><?xml version="1.0" encoding="utf-8"?>
<ds:datastoreItem xmlns:ds="http://schemas.openxmlformats.org/officeDocument/2006/customXml" ds:itemID="{65188428-7995-4D1B-9415-0B44D77DC3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4cf8dcb-58cd-4afe-b3be-169826b38044"/>
    <ds:schemaRef ds:uri="e700e6ea-e5b3-4de1-90a7-2b771b0c6c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E2226D2-D7D0-44AE-85CE-32E5797E390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3</TotalTime>
  <Words>931</Words>
  <Application>Microsoft Office PowerPoint</Application>
  <PresentationFormat>Widescreen</PresentationFormat>
  <Paragraphs>138</Paragraphs>
  <Slides>13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Office Theme</vt:lpstr>
      <vt:lpstr>Empirical evidence of the pricing of carbon emissions in Sweden using a carbon tax and emissions trading </vt:lpstr>
      <vt:lpstr>Sweden</vt:lpstr>
      <vt:lpstr>A brief history of Swedish tax law</vt:lpstr>
      <vt:lpstr>Motivation &amp; Background</vt:lpstr>
      <vt:lpstr>What we do in our paper</vt:lpstr>
      <vt:lpstr>Data and sample: sources</vt:lpstr>
      <vt:lpstr>Concentration of manufacturing CO2 emissions</vt:lpstr>
      <vt:lpstr>Method and results</vt:lpstr>
      <vt:lpstr>Estimating long-run tax elasticities</vt:lpstr>
      <vt:lpstr>Baseline estimates</vt:lpstr>
      <vt:lpstr>PowerPoint Presentation</vt:lpstr>
      <vt:lpstr>Conclus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bon Pricing and Firm-Level CO2 Abatement: Evidence from a Quarter of a Century-Long Panel</dc:title>
  <dc:creator>Per Strömberg</dc:creator>
  <cp:lastModifiedBy>Guillamo, Valerie</cp:lastModifiedBy>
  <cp:revision>101</cp:revision>
  <dcterms:created xsi:type="dcterms:W3CDTF">2021-05-03T06:30:30Z</dcterms:created>
  <dcterms:modified xsi:type="dcterms:W3CDTF">2024-09-27T18:4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B5AC1D1AF1F764DB3CE266856C882FC</vt:lpwstr>
  </property>
  <property fmtid="{D5CDD505-2E9C-101B-9397-08002B2CF9AE}" pid="3" name="MediaServiceImageTags">
    <vt:lpwstr/>
  </property>
  <property fmtid="{D5CDD505-2E9C-101B-9397-08002B2CF9AE}" pid="4" name="ADBProjectDocumentType">
    <vt:lpwstr/>
  </property>
  <property fmtid="{D5CDD505-2E9C-101B-9397-08002B2CF9AE}" pid="5" name="ADBProject">
    <vt:lpwstr/>
  </property>
  <property fmtid="{D5CDD505-2E9C-101B-9397-08002B2CF9AE}" pid="6" name="ADBContentGroup">
    <vt:lpwstr>2;#SERD|a14f8000-6f37-4a90-b775-7e2db006ff97</vt:lpwstr>
  </property>
  <property fmtid="{D5CDD505-2E9C-101B-9397-08002B2CF9AE}" pid="7" name="ADBSector">
    <vt:lpwstr/>
  </property>
  <property fmtid="{D5CDD505-2E9C-101B-9397-08002B2CF9AE}" pid="8" name="ADBDivision">
    <vt:lpwstr/>
  </property>
  <property fmtid="{D5CDD505-2E9C-101B-9397-08002B2CF9AE}" pid="9" name="ADBDocumentSecurity">
    <vt:lpwstr/>
  </property>
  <property fmtid="{D5CDD505-2E9C-101B-9397-08002B2CF9AE}" pid="10" name="ADBDocumentLanguage">
    <vt:lpwstr>1;#English|16ac8743-31bb-43f8-9a73-533a041667d6</vt:lpwstr>
  </property>
  <property fmtid="{D5CDD505-2E9C-101B-9397-08002B2CF9AE}" pid="11" name="ADBSOVProjectSegmentation">
    <vt:lpwstr/>
  </property>
  <property fmtid="{D5CDD505-2E9C-101B-9397-08002B2CF9AE}" pid="12" name="ADBSubRegion">
    <vt:lpwstr/>
  </property>
  <property fmtid="{D5CDD505-2E9C-101B-9397-08002B2CF9AE}" pid="13" name="ADBDepartmentOwner">
    <vt:lpwstr>3;#SERD|a14f8000-6f37-4a90-b775-7e2db006ff97</vt:lpwstr>
  </property>
  <property fmtid="{D5CDD505-2E9C-101B-9397-08002B2CF9AE}" pid="14" name="ADBCountry">
    <vt:lpwstr/>
  </property>
  <property fmtid="{D5CDD505-2E9C-101B-9397-08002B2CF9AE}" pid="15" name="MSIP_Label_817d4574-7375-4d17-b29c-6e4c6df0fcb0_Enabled">
    <vt:lpwstr>true</vt:lpwstr>
  </property>
  <property fmtid="{D5CDD505-2E9C-101B-9397-08002B2CF9AE}" pid="16" name="MSIP_Label_817d4574-7375-4d17-b29c-6e4c6df0fcb0_SetDate">
    <vt:lpwstr>2023-09-29T07:29:11Z</vt:lpwstr>
  </property>
  <property fmtid="{D5CDD505-2E9C-101B-9397-08002B2CF9AE}" pid="17" name="MSIP_Label_817d4574-7375-4d17-b29c-6e4c6df0fcb0_Method">
    <vt:lpwstr>Standard</vt:lpwstr>
  </property>
  <property fmtid="{D5CDD505-2E9C-101B-9397-08002B2CF9AE}" pid="18" name="MSIP_Label_817d4574-7375-4d17-b29c-6e4c6df0fcb0_Name">
    <vt:lpwstr>ADB Internal</vt:lpwstr>
  </property>
  <property fmtid="{D5CDD505-2E9C-101B-9397-08002B2CF9AE}" pid="19" name="MSIP_Label_817d4574-7375-4d17-b29c-6e4c6df0fcb0_SiteId">
    <vt:lpwstr>9495d6bb-41c2-4c58-848f-92e52cf3d640</vt:lpwstr>
  </property>
  <property fmtid="{D5CDD505-2E9C-101B-9397-08002B2CF9AE}" pid="20" name="MSIP_Label_817d4574-7375-4d17-b29c-6e4c6df0fcb0_ActionId">
    <vt:lpwstr>0072588a-36c6-4176-a05e-bce6cd0df860</vt:lpwstr>
  </property>
  <property fmtid="{D5CDD505-2E9C-101B-9397-08002B2CF9AE}" pid="21" name="MSIP_Label_817d4574-7375-4d17-b29c-6e4c6df0fcb0_ContentBits">
    <vt:lpwstr>2</vt:lpwstr>
  </property>
  <property fmtid="{D5CDD505-2E9C-101B-9397-08002B2CF9AE}" pid="22" name="ClassificationContentMarkingFooterLocations">
    <vt:lpwstr>Office Theme:9</vt:lpwstr>
  </property>
  <property fmtid="{D5CDD505-2E9C-101B-9397-08002B2CF9AE}" pid="23" name="ClassificationContentMarkingFooterText">
    <vt:lpwstr>INTERNAL. This information is accessible to ADB Management and staff. It may be shared outside ADB with appropriate permission.</vt:lpwstr>
  </property>
  <property fmtid="{D5CDD505-2E9C-101B-9397-08002B2CF9AE}" pid="24" name="MSIP_Label_0c07ed86-5dc5-4593-ad03-a8684b843815_Enabled">
    <vt:lpwstr>true</vt:lpwstr>
  </property>
  <property fmtid="{D5CDD505-2E9C-101B-9397-08002B2CF9AE}" pid="25" name="MSIP_Label_0c07ed86-5dc5-4593-ad03-a8684b843815_SetDate">
    <vt:lpwstr>2023-11-28T16:24:32Z</vt:lpwstr>
  </property>
  <property fmtid="{D5CDD505-2E9C-101B-9397-08002B2CF9AE}" pid="26" name="MSIP_Label_0c07ed86-5dc5-4593-ad03-a8684b843815_Method">
    <vt:lpwstr>Standard</vt:lpwstr>
  </property>
  <property fmtid="{D5CDD505-2E9C-101B-9397-08002B2CF9AE}" pid="27" name="MSIP_Label_0c07ed86-5dc5-4593-ad03-a8684b843815_Name">
    <vt:lpwstr>0c07ed86-5dc5-4593-ad03-a8684b843815</vt:lpwstr>
  </property>
  <property fmtid="{D5CDD505-2E9C-101B-9397-08002B2CF9AE}" pid="28" name="MSIP_Label_0c07ed86-5dc5-4593-ad03-a8684b843815_SiteId">
    <vt:lpwstr>8085fa43-302e-45bd-b171-a6648c3b6be7</vt:lpwstr>
  </property>
  <property fmtid="{D5CDD505-2E9C-101B-9397-08002B2CF9AE}" pid="29" name="MSIP_Label_0c07ed86-5dc5-4593-ad03-a8684b843815_ActionId">
    <vt:lpwstr>a7318e34-9feb-43a2-8661-72d894434bf6</vt:lpwstr>
  </property>
  <property fmtid="{D5CDD505-2E9C-101B-9397-08002B2CF9AE}" pid="30" name="MSIP_Label_0c07ed86-5dc5-4593-ad03-a8684b843815_ContentBits">
    <vt:lpwstr>0</vt:lpwstr>
  </property>
</Properties>
</file>